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1100" r:id="rId2"/>
    <p:sldId id="1097" r:id="rId3"/>
    <p:sldId id="1098" r:id="rId4"/>
    <p:sldId id="1099" r:id="rId5"/>
    <p:sldId id="1096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10" autoAdjust="0"/>
    <p:restoredTop sz="94660"/>
  </p:normalViewPr>
  <p:slideViewPr>
    <p:cSldViewPr snapToGrid="0">
      <p:cViewPr varScale="1">
        <p:scale>
          <a:sx n="119" d="100"/>
          <a:sy n="119" d="100"/>
        </p:scale>
        <p:origin x="216" y="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  <a:effectLst/>
        </p:spPr>
        <p:txBody>
          <a:bodyPr/>
          <a:lstStyle>
            <a:lvl1pPr marL="0" indent="0">
              <a:buNone/>
              <a:defRPr>
                <a:effectLst/>
              </a:defRPr>
            </a:lvl1pPr>
          </a:lstStyle>
          <a:p>
            <a:r>
              <a:rPr lang="en-US" dirty="0">
                <a:effectLst/>
              </a:rPr>
              <a:t>Click icon to add picture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  <a:effectLst/>
        </p:spPr>
        <p:txBody>
          <a:bodyPr/>
          <a:lstStyle>
            <a:lvl1pPr marL="0" indent="0" algn="l">
              <a:lnSpc>
                <a:spcPct val="100000"/>
              </a:lnSpc>
              <a:spcBef>
                <a:spcPct val="0"/>
              </a:spcBef>
              <a:buNone/>
              <a:defRPr sz="2200">
                <a:solidFill>
                  <a:schemeClr val="bg2"/>
                </a:solidFill>
                <a:effectLst/>
              </a:defRPr>
            </a:lvl1pPr>
            <a:lvl2pPr marL="457178" indent="0" algn="ctr">
              <a:buNone/>
              <a:defRPr sz="2000">
                <a:effectLst/>
              </a:defRPr>
            </a:lvl2pPr>
            <a:lvl3pPr marL="914354" indent="0" algn="ctr">
              <a:buNone/>
              <a:defRPr sz="1800">
                <a:effectLst/>
              </a:defRPr>
            </a:lvl3pPr>
            <a:lvl4pPr marL="1371532" indent="0" algn="ctr">
              <a:buNone/>
              <a:defRPr sz="1600">
                <a:effectLst/>
              </a:defRPr>
            </a:lvl4pPr>
            <a:lvl5pPr marL="1828709" indent="0" algn="ctr">
              <a:buNone/>
              <a:defRPr sz="1600">
                <a:effectLst/>
              </a:defRPr>
            </a:lvl5pPr>
            <a:lvl6pPr marL="2285886" indent="0" algn="ctr">
              <a:buNone/>
              <a:defRPr sz="1600">
                <a:effectLst/>
              </a:defRPr>
            </a:lvl6pPr>
            <a:lvl7pPr marL="2743062" indent="0" algn="ctr">
              <a:buNone/>
              <a:defRPr sz="1600">
                <a:effectLst/>
              </a:defRPr>
            </a:lvl7pPr>
            <a:lvl8pPr marL="3200240" indent="0" algn="ctr">
              <a:buNone/>
              <a:defRPr sz="1600">
                <a:effectLst/>
              </a:defRPr>
            </a:lvl8pPr>
            <a:lvl9pPr marL="3657418" indent="0" algn="ctr">
              <a:buNone/>
              <a:defRPr sz="1600">
                <a:effectLst/>
              </a:defRPr>
            </a:lvl9pPr>
          </a:lstStyle>
          <a:p>
            <a:r>
              <a:rPr lang="en-US">
                <a:effectLst/>
              </a:rPr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  <a:effectLst/>
        </p:spPr>
        <p:txBody>
          <a:bodyPr anchor="b"/>
          <a:lstStyle>
            <a:lvl1pPr algn="l">
              <a:spcBef>
                <a:spcPct val="0"/>
              </a:spcBef>
              <a:defRPr sz="2600" b="1">
                <a:solidFill>
                  <a:schemeClr val="tx1"/>
                </a:solidFill>
                <a:effectLst/>
              </a:defRPr>
            </a:lvl1pPr>
          </a:lstStyle>
          <a:p>
            <a:r>
              <a:rPr lang="en-US">
                <a:effectLst/>
              </a:rPr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12194767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effectLst/>
        </p:spPr>
        <p:txBody>
          <a:bodyPr/>
          <a:lstStyle/>
          <a:p>
            <a:r>
              <a:rPr lang="en-US">
                <a:effectLst/>
              </a:rPr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418394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btfpLayoutConfig" hidden="1"/>
          <p:cNvSpPr txBox="1"/>
          <p:nvPr userDrawn="1"/>
        </p:nvSpPr>
        <p:spPr>
          <a:xfrm>
            <a:off x="12700" y="12700"/>
            <a:ext cx="431776" cy="88092"/>
          </a:xfrm>
          <a:prstGeom prst="rect">
            <a:avLst/>
          </a:prstGeom>
          <a:noFill/>
          <a:effectLst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dirty="0">
                <a:solidFill>
                  <a:srgbClr val="FFFFFF">
                    <a:alpha val="0"/>
                  </a:srgbClr>
                </a:solidFill>
                <a:effectLst/>
              </a:rPr>
              <a:t>overall_0_131678750362634556 columns_1_131678750362634556 </a:t>
            </a:r>
          </a:p>
        </p:txBody>
      </p:sp>
    </p:spTree>
    <p:extLst>
      <p:ext uri="{BB962C8B-B14F-4D97-AF65-F5344CB8AC3E}">
        <p14:creationId xmlns:p14="http://schemas.microsoft.com/office/powerpoint/2010/main" val="804466400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611327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>
        <p15:guide id="1" orient="horz" pos="3453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</p:spTree>
    <p:extLst>
      <p:ext uri="{BB962C8B-B14F-4D97-AF65-F5344CB8AC3E}">
        <p14:creationId xmlns:p14="http://schemas.microsoft.com/office/powerpoint/2010/main" val="387482475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19" name="SlideNumber"/>
          <p:cNvSpPr/>
          <p:nvPr userDrawn="1"/>
        </p:nvSpPr>
        <p:spPr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effectLst/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 dirty="0">
              <a:solidFill>
                <a:schemeClr val="bg2"/>
              </a:solidFill>
              <a:effectLst/>
              <a:latin typeface="+mn-lt"/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11116564" y="6646418"/>
            <a:ext cx="288036" cy="165036"/>
          </a:xfrm>
          <a:prstGeom prst="rect">
            <a:avLst/>
          </a:prstGeom>
          <a:effectLst/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 dirty="0">
                <a:solidFill>
                  <a:srgbClr val="FFFFFF"/>
                </a:solidFill>
                <a:effectLst/>
              </a:rPr>
              <a:t>SFR</a:t>
            </a:r>
          </a:p>
        </p:txBody>
      </p:sp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  <a:effectLst/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>
                <a:effectLst/>
              </a:rPr>
              <a:t>Edit Master text styles</a:t>
            </a:r>
          </a:p>
          <a:p>
            <a:pPr lvl="1"/>
            <a:r>
              <a:rPr lang="en-US">
                <a:effectLst/>
              </a:rPr>
              <a:t>Second level</a:t>
            </a:r>
          </a:p>
          <a:p>
            <a:pPr lvl="2"/>
            <a:r>
              <a:rPr lang="en-US">
                <a:effectLst/>
              </a:rPr>
              <a:t>Third level</a:t>
            </a:r>
          </a:p>
          <a:p>
            <a:pPr lvl="3"/>
            <a:r>
              <a:rPr lang="en-US">
                <a:effectLst/>
              </a:rPr>
              <a:t>Fourth level</a:t>
            </a:r>
          </a:p>
          <a:p>
            <a:pPr lvl="4"/>
            <a:r>
              <a:rPr lang="en-US">
                <a:effectLst/>
              </a:rPr>
              <a:t>Fifth level</a:t>
            </a:r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  <a:effectLst/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>
                <a:effectLst/>
              </a:rPr>
              <a:t>Click to edit Master title style</a:t>
            </a:r>
          </a:p>
        </p:txBody>
      </p:sp>
      <p:sp>
        <p:nvSpPr>
          <p:cNvPr id="4" name="btfpLayoutConfig" hidden="1"/>
          <p:cNvSpPr txBox="1"/>
          <p:nvPr userDrawn="1"/>
        </p:nvSpPr>
        <p:spPr bwMode="gray">
          <a:xfrm>
            <a:off x="12700" y="12700"/>
            <a:ext cx="43177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" dirty="0">
                <a:solidFill>
                  <a:srgbClr val="FFFFFF">
                    <a:alpha val="0"/>
                  </a:srgbClr>
                </a:solidFill>
              </a:rPr>
              <a:t>overall_0_131699556604243850 columns_1_131699556604243850 </a:t>
            </a:r>
          </a:p>
        </p:txBody>
      </p:sp>
    </p:spTree>
    <p:extLst>
      <p:ext uri="{BB962C8B-B14F-4D97-AF65-F5344CB8AC3E}">
        <p14:creationId xmlns:p14="http://schemas.microsoft.com/office/powerpoint/2010/main" val="1253351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ransition/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>
          <a:effectLst/>
        </a:defRPr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effectLst/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>
          <p15:clr>
            <a:srgbClr val="D1D1D1"/>
          </p15:clr>
        </p15:guide>
        <p15:guide id="2" pos="211">
          <p15:clr>
            <a:srgbClr val="D1D1D1"/>
          </p15:clr>
        </p15:guide>
        <p15:guide id="4" orient="horz" pos="799">
          <p15:clr>
            <a:srgbClr val="D1D1D1"/>
          </p15:clr>
        </p15:guide>
        <p15:guide id="7" orient="horz" pos="4133">
          <p15:clr>
            <a:srgbClr val="D1D1D1"/>
          </p15:clr>
        </p15:guide>
        <p15:guide id="8" pos="7469">
          <p15:clr>
            <a:srgbClr val="D1D1D1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mailto:anikolaeva@esd.wa.gov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reer Connect Washington Legislative Update 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 bwMode="gray">
          <a:xfrm>
            <a:off x="882316" y="1545389"/>
            <a:ext cx="9652000" cy="241180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2400" dirty="0" smtClean="0"/>
              <a:t>Employment Security Advisory Committee Meeting</a:t>
            </a:r>
          </a:p>
          <a:p>
            <a:pPr marL="0" indent="0">
              <a:buNone/>
            </a:pPr>
            <a:r>
              <a:rPr lang="en-US" sz="2400" dirty="0" smtClean="0"/>
              <a:t>May 13, 2019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 smtClean="0"/>
              <a:t>Anna Nikolaeva</a:t>
            </a:r>
          </a:p>
          <a:p>
            <a:pPr marL="0" indent="0">
              <a:buNone/>
            </a:pPr>
            <a:r>
              <a:rPr lang="en-US" sz="2400" dirty="0" smtClean="0"/>
              <a:t>Workforce Initiatives</a:t>
            </a:r>
          </a:p>
          <a:p>
            <a:pPr marL="0" indent="0">
              <a:buNone/>
            </a:pPr>
            <a:r>
              <a:rPr lang="en-US" sz="1600" dirty="0" smtClean="0">
                <a:hlinkClick r:id="rId2"/>
              </a:rPr>
              <a:t>anikolaeva@esd.wa.gov</a:t>
            </a:r>
            <a:endParaRPr lang="en-US" sz="1600" dirty="0" smtClean="0"/>
          </a:p>
          <a:p>
            <a:pPr marL="0" indent="0">
              <a:buNone/>
            </a:pPr>
            <a:r>
              <a:rPr lang="en-US" sz="1600" dirty="0" smtClean="0"/>
              <a:t>360-338-2834</a:t>
            </a:r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val="2021240910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reer Connect Local Prototypes 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 bwMode="gray">
          <a:xfrm>
            <a:off x="334963" y="1080168"/>
            <a:ext cx="11522075" cy="672067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600" dirty="0" smtClean="0"/>
              <a:t>Interrelated Problems: </a:t>
            </a:r>
          </a:p>
          <a:p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ashington </a:t>
            </a:r>
            <a:r>
              <a:rPr lang="en-US" sz="1600" dirty="0"/>
              <a:t>employers have </a:t>
            </a:r>
            <a:r>
              <a:rPr lang="en-US" sz="1600" dirty="0" smtClean="0"/>
              <a:t>250,000+ </a:t>
            </a:r>
            <a:r>
              <a:rPr lang="en-US" sz="1600" dirty="0"/>
              <a:t>job openings per year 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73</a:t>
            </a:r>
            <a:r>
              <a:rPr lang="en-US" sz="1600" dirty="0"/>
              <a:t>% require some postsecondary education 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kill </a:t>
            </a:r>
            <a:r>
              <a:rPr lang="en-US" sz="1600" dirty="0"/>
              <a:t>gaps slow economic growth and job creation</a:t>
            </a:r>
            <a:br>
              <a:rPr lang="en-US" sz="1600" dirty="0"/>
            </a:br>
            <a:r>
              <a:rPr lang="en-US" sz="1600" dirty="0"/>
              <a:t/>
            </a:r>
            <a:br>
              <a:rPr lang="en-US" sz="1600" dirty="0"/>
            </a:b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Young </a:t>
            </a:r>
            <a:r>
              <a:rPr lang="en-US" sz="1600" dirty="0"/>
              <a:t>adult unemployment is </a:t>
            </a:r>
            <a:r>
              <a:rPr lang="en-US" sz="1600" dirty="0" smtClean="0"/>
              <a:t>above 12%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Only </a:t>
            </a:r>
            <a:r>
              <a:rPr lang="en-US" sz="1600" dirty="0"/>
              <a:t>40% of WA students achieve a post-high school </a:t>
            </a:r>
            <a:r>
              <a:rPr lang="en-US" sz="1600" dirty="0" smtClean="0"/>
              <a:t>credential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5-year </a:t>
            </a:r>
            <a:r>
              <a:rPr lang="en-US" sz="1600" dirty="0"/>
              <a:t>high school graduation rate is 81.9%</a:t>
            </a:r>
            <a:br>
              <a:rPr lang="en-US" sz="1600" dirty="0"/>
            </a:br>
            <a:r>
              <a:rPr lang="en-US" sz="1600" dirty="0"/>
              <a:t>	- 18,000 young people per year do not graduate within 5 years </a:t>
            </a:r>
            <a:r>
              <a:rPr lang="en-US" sz="1600" dirty="0" smtClean="0"/>
              <a:t>of </a:t>
            </a:r>
            <a:r>
              <a:rPr lang="en-US" sz="1600" dirty="0"/>
              <a:t>starting school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r>
              <a:rPr lang="en-US" sz="1600" dirty="0" smtClean="0"/>
              <a:t>Governor Inslee’s challenge to 12 Local Teams (co-lead by Workforce Development Councils &amp; STEM Networks): </a:t>
            </a:r>
          </a:p>
          <a:p>
            <a:pPr marL="0" indent="0">
              <a:buNone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Address the above gap by providing 15,000 youth with career connected learning experiences, of which at least 1,500 are intensive on-the-job learning experiences such as registered apprenticeships, internships, or co-operative learning experien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Move towards makin</a:t>
            </a:r>
            <a:r>
              <a:rPr lang="en-US" sz="1600" dirty="0" smtClean="0"/>
              <a:t>g career connected learning part of every WA youth’s experience</a:t>
            </a:r>
            <a:endParaRPr lang="en-US" sz="1600" dirty="0" smtClean="0"/>
          </a:p>
          <a:p>
            <a:pPr marL="0" indent="0">
              <a:buNone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val="1168945750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reer Connect Local Prototypes – Performance Update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 bwMode="gray">
          <a:xfrm>
            <a:off x="334963" y="1080168"/>
            <a:ext cx="11522075" cy="672067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1600" dirty="0"/>
              <a:t>Nearly 50,000 career connected learning experiences and 1,700 comprehensive internships since start of Career Connect Washington </a:t>
            </a:r>
            <a:r>
              <a:rPr lang="en-US" sz="1600" dirty="0" smtClean="0"/>
              <a:t>pilots</a:t>
            </a:r>
          </a:p>
          <a:p>
            <a:endParaRPr lang="en-US" sz="1600" dirty="0"/>
          </a:p>
          <a:p>
            <a:r>
              <a:rPr lang="en-US" sz="1600" dirty="0"/>
              <a:t>Outcomes to-date have exceeded </a:t>
            </a:r>
            <a:r>
              <a:rPr lang="en-US" sz="1600" dirty="0" smtClean="0"/>
              <a:t>the Governor’s challenge: 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Number of </a:t>
            </a:r>
            <a:r>
              <a:rPr lang="en-US" sz="1600" dirty="0" smtClean="0"/>
              <a:t>career connected learning </a:t>
            </a:r>
            <a:r>
              <a:rPr lang="en-US" sz="1600" dirty="0"/>
              <a:t>experiences (&gt;49,000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Comprehensive internships (~1,700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Engagement and communications events (~80 event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Apprentices in new and expanded programs (~175 apprentices</a:t>
            </a:r>
            <a:r>
              <a:rPr lang="en-US" sz="1600" dirty="0" smtClean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17 </a:t>
            </a:r>
            <a:r>
              <a:rPr lang="en-US" sz="1600" dirty="0"/>
              <a:t>new organizations are employing apprentices</a:t>
            </a:r>
          </a:p>
          <a:p>
            <a:endParaRPr lang="en-US" sz="1600" dirty="0"/>
          </a:p>
          <a:p>
            <a:r>
              <a:rPr lang="en-US" sz="1600" dirty="0"/>
              <a:t>Each region </a:t>
            </a:r>
            <a:r>
              <a:rPr lang="en-US" sz="1600" dirty="0" smtClean="0"/>
              <a:t>is developing </a:t>
            </a:r>
            <a:r>
              <a:rPr lang="en-US" sz="1600" dirty="0"/>
              <a:t>programs, forming partnerships, and tracking student data to create new </a:t>
            </a:r>
            <a:r>
              <a:rPr lang="en-US" sz="1600" dirty="0" smtClean="0"/>
              <a:t>career connected learning </a:t>
            </a:r>
            <a:r>
              <a:rPr lang="en-US" sz="1600" dirty="0"/>
              <a:t>experiences for </a:t>
            </a:r>
            <a:r>
              <a:rPr lang="en-US" sz="1600" dirty="0" smtClean="0"/>
              <a:t>students. </a:t>
            </a:r>
            <a:endParaRPr lang="en-US" sz="1600" dirty="0"/>
          </a:p>
          <a:p>
            <a:endParaRPr lang="en-US" sz="1600" dirty="0" smtClean="0"/>
          </a:p>
          <a:p>
            <a:r>
              <a:rPr lang="en-US" sz="1600" dirty="0" smtClean="0"/>
              <a:t>New standards (16+)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ontrols Technolog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IT Junior Code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Business Operations Project Coordinato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omputer Technician I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Hospita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Public Safe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Irrigation Technolog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Pre-School Teach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r>
              <a:rPr lang="en-US" sz="1600" dirty="0"/>
              <a:t>	</a:t>
            </a:r>
            <a:endParaRPr lang="en-US" sz="1600" dirty="0" smtClean="0"/>
          </a:p>
          <a:p>
            <a:endParaRPr lang="en-US" sz="1600" dirty="0"/>
          </a:p>
          <a:p>
            <a:endParaRPr lang="en-US" sz="1600" dirty="0" smtClean="0"/>
          </a:p>
          <a:p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val="1833293722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reer Connect 2.0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 bwMode="gray">
          <a:xfrm>
            <a:off x="424364" y="1128295"/>
            <a:ext cx="11432674" cy="376602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Retains regional team approach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upports intermediaries for program/curriculum desig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upports</a:t>
            </a:r>
            <a:r>
              <a:rPr lang="en-US" sz="1600" dirty="0" smtClean="0"/>
              <a:t> secondary and post-secondary education partn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unds data encla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Establishes cross-agency governance committee to 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Design Career Launch Endorsement proces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Design and execute grants to regional networks and intermediari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Implement marketing and communications agend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Develop web resources for students, employers, and the public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Develop data systems for planning and evaluations purpose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reate a state-wide inventory to identify equity suppor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lvl="1"/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err="1" smtClean="0"/>
          </a:p>
        </p:txBody>
      </p:sp>
    </p:spTree>
    <p:extLst>
      <p:ext uri="{BB962C8B-B14F-4D97-AF65-F5344CB8AC3E}">
        <p14:creationId xmlns:p14="http://schemas.microsoft.com/office/powerpoint/2010/main" val="2910833249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459DE716-665F-4F2E-B494-88D1C047395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459DE716-665F-4F2E-B494-88D1C04739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007255CA-9B92-4748-BB15-137323E730C2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A4BA47CB-11A7-4469-B9F2-8808B6F8493D}"/>
              </a:ext>
            </a:extLst>
          </p:cNvPr>
          <p:cNvSpPr/>
          <p:nvPr/>
        </p:nvSpPr>
        <p:spPr bwMode="gray">
          <a:xfrm>
            <a:off x="0" y="6343126"/>
            <a:ext cx="12192000" cy="29878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CC9919EA-C4EA-4F96-A454-9D6E93ECE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unch funding secured: $24M operating and $9.5M capital funding for Career Connect Washington (and supported initiatives)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xmlns="" id="{36554ABC-1772-4DBC-B611-90E6D1F77277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831006" y="986374"/>
          <a:ext cx="10524012" cy="5545852"/>
        </p:xfrm>
        <a:graphic>
          <a:graphicData uri="http://schemas.openxmlformats.org/drawingml/2006/table">
            <a:tbl>
              <a:tblPr firstRow="1" bandRow="1">
                <a:tableStyleId>{17292A2E-F333-43FB-9621-5CBBE7FDCDCB}</a:tableStyleId>
              </a:tblPr>
              <a:tblGrid>
                <a:gridCol w="2588850">
                  <a:extLst>
                    <a:ext uri="{9D8B030D-6E8A-4147-A177-3AD203B41FA5}">
                      <a16:colId xmlns:a16="http://schemas.microsoft.com/office/drawing/2014/main" xmlns="" val="3666619152"/>
                    </a:ext>
                  </a:extLst>
                </a:gridCol>
                <a:gridCol w="1901952">
                  <a:extLst>
                    <a:ext uri="{9D8B030D-6E8A-4147-A177-3AD203B41FA5}">
                      <a16:colId xmlns:a16="http://schemas.microsoft.com/office/drawing/2014/main" xmlns="" val="850735116"/>
                    </a:ext>
                  </a:extLst>
                </a:gridCol>
                <a:gridCol w="6033210">
                  <a:extLst>
                    <a:ext uri="{9D8B030D-6E8A-4147-A177-3AD203B41FA5}">
                      <a16:colId xmlns:a16="http://schemas.microsoft.com/office/drawing/2014/main" xmlns="" val="3437359563"/>
                    </a:ext>
                  </a:extLst>
                </a:gridCol>
              </a:tblGrid>
              <a:tr h="380212">
                <a:tc rowSpan="2"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2000" dirty="0"/>
                        <a:t>Categor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Y 2019-2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8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unding Detail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814255213"/>
                  </a:ext>
                </a:extLst>
              </a:tr>
              <a:tr h="26779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defTabSz="711200" rtl="0" eaLnBrk="1" latinLnBrk="0" hangingPunct="1">
                        <a:spcBef>
                          <a:spcPts val="1200"/>
                        </a:spcBef>
                        <a:buNone/>
                      </a:pPr>
                      <a:r>
                        <a:rPr lang="en-US" sz="1200" b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$M)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latinLnBrk="0" hangingPunct="1">
                        <a:spcBef>
                          <a:spcPts val="1200"/>
                        </a:spcBef>
                        <a:buNone/>
                      </a:pPr>
                      <a:endParaRPr lang="en-US" sz="1200" b="0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08344912"/>
                  </a:ext>
                </a:extLst>
              </a:tr>
              <a:tr h="580214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400" u="sng" dirty="0"/>
                        <a:t>Local Grants</a:t>
                      </a:r>
                      <a:endParaRPr 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5.4</a:t>
                      </a:r>
                      <a:endParaRPr lang="en-US" sz="1600" baseline="30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None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Competitive grants for </a:t>
                      </a:r>
                      <a:r>
                        <a:rPr lang="en-US" sz="1100" u="sng" baseline="0" dirty="0">
                          <a:solidFill>
                            <a:schemeClr val="tx1"/>
                          </a:solidFill>
                        </a:rPr>
                        <a:t>program intermediaries</a:t>
                      </a:r>
                      <a:r>
                        <a:rPr lang="en-US" sz="1100" u="none" baseline="0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en-US" sz="1100" u="sng" baseline="0" dirty="0">
                          <a:solidFill>
                            <a:schemeClr val="tx1"/>
                          </a:solidFill>
                        </a:rPr>
                        <a:t>regional networks and coordinators in education service districts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</a:rPr>
                        <a:t>to create and expand career-connected learning opportunities statewid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xmlns="" val="177764782"/>
                  </a:ext>
                </a:extLst>
              </a:tr>
              <a:tr h="416564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400" u="sng" dirty="0"/>
                        <a:t>Increased enrollment</a:t>
                      </a:r>
                      <a:endParaRPr 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3.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3.0M for CTC Career Launch enrollment</a:t>
                      </a:r>
                    </a:p>
                    <a:p>
                      <a:pPr marL="177800" indent="-177800" algn="l" defTabSz="711200" rtl="0" eaLnBrk="1" latinLnBrk="0" hangingPunct="1">
                        <a:spcBef>
                          <a:spcPts val="0"/>
                        </a:spcBef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0.6M for K-12 Career Launch programs via C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xmlns="" val="665170071"/>
                  </a:ext>
                </a:extLst>
              </a:tr>
              <a:tr h="416564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400" u="sng" dirty="0"/>
                        <a:t>Equity suppor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1.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177800" indent="-177800" algn="l" defTabSz="711200" rtl="0" eaLnBrk="1" latinLnBrk="0" hangingPunct="1">
                        <a:spcBef>
                          <a:spcPts val="0"/>
                        </a:spcBef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1.6M dual enrollment scholarship pilot – provides scholarships and textbook vouchers to low-income students enrolled in Running Start and College in the High School*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xmlns="" val="2783337439"/>
                  </a:ext>
                </a:extLst>
              </a:tr>
              <a:tr h="743864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400" u="sng" dirty="0"/>
                        <a:t>System start-up</a:t>
                      </a:r>
                      <a:endParaRPr 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2.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177800" indent="-177800" algn="l" defTabSz="711200" rtl="0" eaLnBrk="1" latinLnBrk="0" hangingPunct="1">
                        <a:spcBef>
                          <a:spcPts val="0"/>
                        </a:spcBef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1.6M to K-12 to support CTE course equivalencies and expansion of career connected learning</a:t>
                      </a:r>
                    </a:p>
                    <a:p>
                      <a:pPr marL="177800" indent="-177800" algn="l" defTabSz="711200" rtl="0" eaLnBrk="1" latinLnBrk="0" hangingPunct="1">
                        <a:spcBef>
                          <a:spcPts val="0"/>
                        </a:spcBef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1.2M for data enclave infrastructure</a:t>
                      </a:r>
                    </a:p>
                    <a:p>
                      <a:pPr marL="177800" indent="-177800" algn="l" defTabSz="711200" rtl="0" eaLnBrk="1" latinLnBrk="0" hangingPunct="1">
                        <a:spcBef>
                          <a:spcPts val="0"/>
                        </a:spcBef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0.1M for CCW implementa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xmlns="" val="553702779"/>
                  </a:ext>
                </a:extLst>
              </a:tr>
              <a:tr h="1234814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en-US" sz="1400" b="0" u="sng" dirty="0"/>
                        <a:t>Supported Career Launch initiatives</a:t>
                      </a:r>
                      <a:endParaRPr lang="en-US" sz="1200" b="0" baseline="300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600" b="0" baseline="0" dirty="0">
                          <a:solidFill>
                            <a:schemeClr val="tx1"/>
                          </a:solidFill>
                        </a:rPr>
                        <a:t>10.6</a:t>
                      </a:r>
                      <a:endParaRPr lang="en-US" sz="1600" b="0" baseline="30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177800" indent="-177800" algn="l" defTabSz="711200" rtl="0" eaLnBrk="1" latinLnBrk="0" hangingPunct="1">
                        <a:spcBef>
                          <a:spcPts val="0"/>
                        </a:spcBef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3.4M for CorePlus in K-12 programs</a:t>
                      </a: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2.0M for information technology apprenticeships</a:t>
                      </a: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1.6M for expanding health care apprenticeships</a:t>
                      </a:r>
                    </a:p>
                    <a:p>
                      <a:pPr marL="177800" indent="-177800" algn="l" defTabSz="711200" rtl="0" eaLnBrk="1" latinLnBrk="0" hangingPunct="1">
                        <a:spcBef>
                          <a:spcPts val="0"/>
                        </a:spcBef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1.5M for regional pre-apprenticeship pathways pilot program in Marysville School District</a:t>
                      </a: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0.9M for expansion of state apprenticeship staffing</a:t>
                      </a: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0.7M for controls apprenticeship pathways in South Kitsap School District</a:t>
                      </a:r>
                    </a:p>
                    <a:p>
                      <a:pPr marL="177800" marR="0" lvl="0" indent="-17780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0.5M biological manufacturing equipment for regional training facility in Bothel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xmlns="" val="3739287228"/>
                  </a:ext>
                </a:extLst>
              </a:tr>
              <a:tr h="327300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en-US" sz="1400" b="1" dirty="0"/>
                        <a:t>Total Operating Funding</a:t>
                      </a:r>
                      <a:endParaRPr lang="en-US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B w="762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24.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B w="762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762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14544164"/>
                  </a:ext>
                </a:extLst>
              </a:tr>
              <a:tr h="416564"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1200"/>
                        </a:spcBef>
                        <a:buNone/>
                      </a:pPr>
                      <a:r>
                        <a:rPr lang="en-US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 Capital Fund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.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lvl="0" indent="-177800" algn="l" defTabSz="711200" rtl="0" eaLnBrk="1" latinLnBrk="0" hangingPunct="1">
                        <a:spcBef>
                          <a:spcPts val="0"/>
                        </a:spcBef>
                        <a:buChar char="•"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4.5M for K-12 equipment grants, of which $3.5M for skills centers</a:t>
                      </a:r>
                    </a:p>
                    <a:p>
                      <a:pPr marL="177800" lvl="0" indent="-177800" algn="l" defTabSz="711200" rtl="0" eaLnBrk="1" latinLnBrk="0" hangingPunct="1">
                        <a:spcBef>
                          <a:spcPts val="0"/>
                        </a:spcBef>
                        <a:buChar char="•"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5.0M for CTC equipment gra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61181353"/>
                  </a:ext>
                </a:extLst>
              </a:tr>
              <a:tr h="654600"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1200"/>
                        </a:spcBef>
                        <a:buNone/>
                      </a:pPr>
                      <a:r>
                        <a:rPr lang="en-US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ditional</a:t>
                      </a:r>
                      <a:r>
                        <a:rPr lang="en-US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Washington College Grant Program</a:t>
                      </a:r>
                      <a:endParaRPr lang="en-US" sz="14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BD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br>
                        <a:rPr lang="en-US" sz="11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Dependent on number of Career Launch students)</a:t>
                      </a:r>
                      <a:endParaRPr lang="en-US" sz="11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lvl="0" indent="-177800" algn="l" defTabSz="711200" rtl="0" eaLnBrk="1" latinLnBrk="0" hangingPunct="1">
                        <a:spcBef>
                          <a:spcPts val="0"/>
                        </a:spcBef>
                        <a:buChar char="•"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</a:t>
                      </a:r>
                      <a:r>
                        <a:rPr lang="en-US" sz="1100" b="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7M</a:t>
                      </a: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for the Washington College Grant program, providing, scholarship aid to low-income students to pursue postsecondary degrees.  Career Launch (including Reg. Apprenticeship) students are eligible.*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108905482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CC82440A-3726-43B6-951E-95E1FC8E78BA}"/>
              </a:ext>
            </a:extLst>
          </p:cNvPr>
          <p:cNvSpPr/>
          <p:nvPr/>
        </p:nvSpPr>
        <p:spPr bwMode="gray">
          <a:xfrm>
            <a:off x="421105" y="6472989"/>
            <a:ext cx="2731169" cy="31282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cs typeface="Arial"/>
              </a:rPr>
              <a:t>*Funding not exclusive to Career Launch</a:t>
            </a:r>
          </a:p>
        </p:txBody>
      </p:sp>
    </p:spTree>
    <p:extLst>
      <p:ext uri="{BB962C8B-B14F-4D97-AF65-F5344CB8AC3E}">
        <p14:creationId xmlns:p14="http://schemas.microsoft.com/office/powerpoint/2010/main" val="714045149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YitwWfSzW8w1r3hUDqkQ"/>
</p:tagLst>
</file>

<file path=ppt/theme/theme1.xml><?xml version="1.0" encoding="utf-8"?>
<a:theme xmlns:a="http://schemas.openxmlformats.org/drawingml/2006/main" name="1_Bain Core">
  <a:themeElements>
    <a:clrScheme name="Bain Core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8E806F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  <a:tileRect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  <a:tileRect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  <a:tileRect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044B487B-4C24-4CA5-B91D-7DE2DB669960}" vid="{BCDAF79E-77E1-4B60-B1EA-DC474A901F0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</TotalTime>
  <Words>513</Words>
  <Application>Microsoft Office PowerPoint</Application>
  <PresentationFormat>Widescreen</PresentationFormat>
  <Paragraphs>106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8" baseType="lpstr">
      <vt:lpstr>Arial</vt:lpstr>
      <vt:lpstr>1_Bain Core</vt:lpstr>
      <vt:lpstr>think-cell Slide</vt:lpstr>
      <vt:lpstr>Career Connect Washington Legislative Update </vt:lpstr>
      <vt:lpstr>Career Connect Local Prototypes </vt:lpstr>
      <vt:lpstr>Career Connect Local Prototypes – Performance Update</vt:lpstr>
      <vt:lpstr>Career Connect 2.0</vt:lpstr>
      <vt:lpstr>Launch funding secured: $24M operating and $9.5M capital funding for Career Connect Washington (and supported initiatives)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unch funding secured: $24M operating and $9.5M capital funding for Career Connect Washington (and supported initiatives)</dc:title>
  <dc:creator>Lindsay Berg</dc:creator>
  <cp:lastModifiedBy>Nikolaeva, Anna (ESD)</cp:lastModifiedBy>
  <cp:revision>8</cp:revision>
  <dcterms:created xsi:type="dcterms:W3CDTF">2019-05-13T17:10:16Z</dcterms:created>
  <dcterms:modified xsi:type="dcterms:W3CDTF">2019-05-13T19:57:59Z</dcterms:modified>
</cp:coreProperties>
</file>